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9" r:id="rId6"/>
  </p:sldMasterIdLst>
  <p:notesMasterIdLst>
    <p:notesMasterId r:id="rId11"/>
  </p:notesMasterIdLst>
  <p:sldIdLst>
    <p:sldId id="275" r:id="rId7"/>
    <p:sldId id="274" r:id="rId8"/>
    <p:sldId id="289" r:id="rId9"/>
    <p:sldId id="314" r:id="rId10"/>
  </p:sldIdLst>
  <p:sldSz cx="12192000" cy="6858000"/>
  <p:notesSz cx="6794500" cy="99314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el- und Trennerfolien" id="{2E54794A-1C70-4055-BA0C-047E9C8E06B2}">
          <p14:sldIdLst>
            <p14:sldId id="275"/>
          </p14:sldIdLst>
        </p14:section>
        <p14:section name="Agenda" id="{FBC0E280-BEC4-40CF-9F9F-DEF75DC330B0}">
          <p14:sldIdLst>
            <p14:sldId id="274"/>
          </p14:sldIdLst>
        </p14:section>
        <p14:section name="Inhalt" id="{9143C095-ADCB-48C6-BBF9-4399ACA44AAA}">
          <p14:sldIdLst>
            <p14:sldId id="289"/>
            <p14:sldId id="314"/>
          </p14:sldIdLst>
        </p14:section>
        <p14:section name="Text und Bild" id="{8B1E546A-C040-4A00-B2B4-B7A78D2D67B9}">
          <p14:sldIdLst/>
        </p14:section>
      </p14:sectionLst>
    </p:ext>
    <p:ext uri="{EFAFB233-063F-42B5-8137-9DF3F51BA10A}">
      <p15:sldGuideLst xmlns:p15="http://schemas.microsoft.com/office/powerpoint/2012/main">
        <p15:guide id="3" pos="3817" userDrawn="1">
          <p15:clr>
            <a:srgbClr val="A4A3A4"/>
          </p15:clr>
        </p15:guide>
        <p15:guide id="4" orient="horz" pos="1117" userDrawn="1">
          <p15:clr>
            <a:srgbClr val="A4A3A4"/>
          </p15:clr>
        </p15:guide>
        <p15:guide id="5" orient="horz" pos="3884" userDrawn="1">
          <p15:clr>
            <a:srgbClr val="A4A3A4"/>
          </p15:clr>
        </p15:guide>
        <p15:guide id="6" orient="horz" pos="1865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3793" userDrawn="1">
          <p15:clr>
            <a:srgbClr val="A4A3A4"/>
          </p15:clr>
        </p15:guide>
        <p15:guide id="9" orient="horz" pos="19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48394"/>
    <a:srgbClr val="C8D0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84" autoAdjust="0"/>
    <p:restoredTop sz="89620" autoAdjust="0"/>
  </p:normalViewPr>
  <p:slideViewPr>
    <p:cSldViewPr snapToGrid="0" showGuides="1">
      <p:cViewPr varScale="1">
        <p:scale>
          <a:sx n="128" d="100"/>
          <a:sy n="128" d="100"/>
        </p:scale>
        <p:origin x="520" y="176"/>
      </p:cViewPr>
      <p:guideLst>
        <p:guide pos="3817"/>
        <p:guide orient="horz" pos="1117"/>
        <p:guide orient="horz" pos="3884"/>
        <p:guide orient="horz" pos="1865"/>
        <p:guide orient="horz" pos="2931"/>
        <p:guide orient="horz" pos="3793"/>
        <p:guide orient="horz" pos="19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notesMaster" Target="notesMasters/notesMaster1.xml"/><Relationship Id="rId5" Type="http://schemas.openxmlformats.org/officeDocument/2006/relationships/customXml" Target="../customXml/item5.xml"/><Relationship Id="rId15" Type="http://schemas.openxmlformats.org/officeDocument/2006/relationships/tableStyles" Target="tableStyles.xml"/><Relationship Id="rId10" Type="http://schemas.openxmlformats.org/officeDocument/2006/relationships/slide" Target="slides/slide4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255D82-92B1-4EBA-AF01-9D30101EF318}" type="datetimeFigureOut">
              <a:rPr lang="de-DE" smtClean="0"/>
              <a:t>28.05.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0D3910-EA15-4AD1-B5F5-16783FD382F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7770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301831" y="1701098"/>
            <a:ext cx="8428324" cy="1439862"/>
          </a:xfrm>
          <a:prstGeom prst="rect">
            <a:avLst/>
          </a:prstGeom>
        </p:spPr>
        <p:txBody>
          <a:bodyPr bIns="0">
            <a:noAutofit/>
          </a:bodyPr>
          <a:lstStyle>
            <a:lvl1pPr>
              <a:defRPr sz="4923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311032" y="3356991"/>
            <a:ext cx="8428322" cy="158489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1041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1"/>
            <a:ext cx="3713524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7593376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2877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3715113" cy="56085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102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54805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5" hasCustomPrompt="1"/>
          </p:nvPr>
        </p:nvSpPr>
        <p:spPr>
          <a:xfrm>
            <a:off x="344139" y="884238"/>
            <a:ext cx="11506201" cy="5613761"/>
          </a:xfrm>
          <a:prstGeom prst="rect">
            <a:avLst/>
          </a:prstGeom>
          <a:pattFill prst="wdUpDiag">
            <a:fgClr>
              <a:schemeClr val="tx2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6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329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93674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56549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2956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Clr>
                <a:schemeClr val="tx2"/>
              </a:buClr>
              <a:defRPr lang="de-DE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6919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2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05366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3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07073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4780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4475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0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93999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21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11051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26830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0021278" y="6586538"/>
            <a:ext cx="1045307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985" dirty="0">
                <a:solidFill>
                  <a:schemeClr val="tx2"/>
                </a:solidFill>
                <a:latin typeface="+mn-lt"/>
                <a:cs typeface="+mn-cs"/>
              </a:rPr>
              <a:t> </a:t>
            </a:r>
            <a:endParaRPr lang="de-DE" sz="2215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5" name="Rectangle 130"/>
          <p:cNvSpPr>
            <a:spLocks noChangeArrowheads="1"/>
          </p:cNvSpPr>
          <p:nvPr/>
        </p:nvSpPr>
        <p:spPr bwMode="gray">
          <a:xfrm>
            <a:off x="9650107" y="6586538"/>
            <a:ext cx="1577058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 dirty="0">
                <a:solidFill>
                  <a:schemeClr val="accent2"/>
                </a:solidFill>
                <a:latin typeface="+mn-lt"/>
                <a:cs typeface="+mn-cs"/>
              </a:rPr>
              <a:t> © Smart Mechatronics</a:t>
            </a:r>
            <a:endParaRPr lang="de-DE" sz="1600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14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2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2457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</p:sldLayoutIdLst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5pPr>
      <a:lvl6pPr marL="56272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6pPr>
      <a:lvl7pPr marL="1125444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7pPr>
      <a:lvl8pPr marL="168816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8pPr>
      <a:lvl9pPr marL="225088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58775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3" pitchFamily="18" charset="2"/>
        <a:buChar char="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074738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§"/>
        <a:tabLst>
          <a:tab pos="1522413" algn="l"/>
        </a:tabLst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31925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lnSpc>
          <a:spcPct val="110000"/>
        </a:lnSpc>
        <a:spcBef>
          <a:spcPts val="862"/>
        </a:spcBef>
        <a:buClr>
          <a:schemeClr val="tx2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3">
          <p15:clr>
            <a:srgbClr val="F26B43"/>
          </p15:clr>
        </p15:guide>
        <p15:guide id="2" pos="224">
          <p15:clr>
            <a:srgbClr val="F26B43"/>
          </p15:clr>
        </p15:guide>
        <p15:guide id="3" pos="7457">
          <p15:clr>
            <a:srgbClr val="F26B43"/>
          </p15:clr>
        </p15:guide>
        <p15:guide id="4" orient="horz" pos="436">
          <p15:clr>
            <a:srgbClr val="F26B43"/>
          </p15:clr>
        </p15:guide>
        <p15:guide id="5" orient="horz" pos="4090">
          <p15:clr>
            <a:srgbClr val="F26B43"/>
          </p15:clr>
        </p15:guide>
        <p15:guide id="6" orient="horz" pos="54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621" r="1262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hteck 1"/>
          <p:cNvSpPr/>
          <p:nvPr/>
        </p:nvSpPr>
        <p:spPr>
          <a:xfrm>
            <a:off x="-17357" y="3591427"/>
            <a:ext cx="6605771" cy="2148269"/>
          </a:xfrm>
          <a:custGeom>
            <a:avLst/>
            <a:gdLst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52046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20464 w 9806214"/>
              <a:gd name="connsiteY3" fmla="*/ 3227896 h 3227896"/>
              <a:gd name="connsiteX4" fmla="*/ 0 w 9806214"/>
              <a:gd name="connsiteY4" fmla="*/ 3227896 h 3227896"/>
              <a:gd name="connsiteX5" fmla="*/ 0 w 9806214"/>
              <a:gd name="connsiteY5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63100 w 9806214"/>
              <a:gd name="connsiteY3" fmla="*/ 2812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81996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10536896"/>
              <a:gd name="connsiteY0" fmla="*/ 0 h 3227896"/>
              <a:gd name="connsiteX1" fmla="*/ 10536896 w 10536896"/>
              <a:gd name="connsiteY1" fmla="*/ 0 h 3227896"/>
              <a:gd name="connsiteX2" fmla="*/ 10408082 w 10536896"/>
              <a:gd name="connsiteY2" fmla="*/ 1643983 h 3227896"/>
              <a:gd name="connsiteX3" fmla="*/ 9049182 w 10536896"/>
              <a:gd name="connsiteY3" fmla="*/ 1669383 h 3227896"/>
              <a:gd name="connsiteX4" fmla="*/ 8930346 w 10536896"/>
              <a:gd name="connsiteY4" fmla="*/ 3227896 h 3227896"/>
              <a:gd name="connsiteX5" fmla="*/ 730682 w 10536896"/>
              <a:gd name="connsiteY5" fmla="*/ 3227896 h 3227896"/>
              <a:gd name="connsiteX6" fmla="*/ 0 w 10536896"/>
              <a:gd name="connsiteY6" fmla="*/ 0 h 3227896"/>
              <a:gd name="connsiteX0" fmla="*/ 14052 w 10550948"/>
              <a:gd name="connsiteY0" fmla="*/ 0 h 3241948"/>
              <a:gd name="connsiteX1" fmla="*/ 10550948 w 10550948"/>
              <a:gd name="connsiteY1" fmla="*/ 0 h 3241948"/>
              <a:gd name="connsiteX2" fmla="*/ 10422134 w 10550948"/>
              <a:gd name="connsiteY2" fmla="*/ 1643983 h 3241948"/>
              <a:gd name="connsiteX3" fmla="*/ 9063234 w 10550948"/>
              <a:gd name="connsiteY3" fmla="*/ 1669383 h 3241948"/>
              <a:gd name="connsiteX4" fmla="*/ 8944398 w 10550948"/>
              <a:gd name="connsiteY4" fmla="*/ 3227896 h 3241948"/>
              <a:gd name="connsiteX5" fmla="*/ 0 w 10550948"/>
              <a:gd name="connsiteY5" fmla="*/ 3241948 h 3241948"/>
              <a:gd name="connsiteX6" fmla="*/ 14052 w 10550948"/>
              <a:gd name="connsiteY6" fmla="*/ 0 h 324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50948" h="3241948">
                <a:moveTo>
                  <a:pt x="14052" y="0"/>
                </a:moveTo>
                <a:lnTo>
                  <a:pt x="10550948" y="0"/>
                </a:lnTo>
                <a:lnTo>
                  <a:pt x="10422134" y="1643983"/>
                </a:lnTo>
                <a:lnTo>
                  <a:pt x="9063234" y="1669383"/>
                </a:lnTo>
                <a:lnTo>
                  <a:pt x="8944398" y="3227896"/>
                </a:lnTo>
                <a:lnTo>
                  <a:pt x="0" y="3241948"/>
                </a:lnTo>
                <a:lnTo>
                  <a:pt x="14052" y="0"/>
                </a:lnTo>
                <a:close/>
              </a:path>
            </a:pathLst>
          </a:custGeom>
          <a:solidFill>
            <a:schemeClr val="bg1">
              <a:alpha val="77255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Titel 6"/>
          <p:cNvSpPr txBox="1">
            <a:spLocks/>
          </p:cNvSpPr>
          <p:nvPr/>
        </p:nvSpPr>
        <p:spPr bwMode="gray">
          <a:xfrm>
            <a:off x="104423" y="4857479"/>
            <a:ext cx="5033907" cy="357123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sz="1800" b="0" dirty="0"/>
          </a:p>
        </p:txBody>
      </p:sp>
      <p:sp>
        <p:nvSpPr>
          <p:cNvPr id="26" name="Titel 6"/>
          <p:cNvSpPr txBox="1">
            <a:spLocks/>
          </p:cNvSpPr>
          <p:nvPr/>
        </p:nvSpPr>
        <p:spPr bwMode="gray">
          <a:xfrm>
            <a:off x="77529" y="3578641"/>
            <a:ext cx="6217254" cy="1226444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dirty="0"/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7260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5627" b="37003"/>
          <a:stretch/>
        </p:blipFill>
        <p:spPr bwMode="auto">
          <a:xfrm>
            <a:off x="0" y="0"/>
            <a:ext cx="12192000" cy="6885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hteck 5"/>
          <p:cNvSpPr/>
          <p:nvPr/>
        </p:nvSpPr>
        <p:spPr>
          <a:xfrm>
            <a:off x="349816" y="-6180"/>
            <a:ext cx="5746184" cy="6891563"/>
          </a:xfrm>
          <a:custGeom>
            <a:avLst/>
            <a:gdLst>
              <a:gd name="connsiteX0" fmla="*/ 0 w 3724176"/>
              <a:gd name="connsiteY0" fmla="*/ 0 h 6885384"/>
              <a:gd name="connsiteX1" fmla="*/ 3724176 w 3724176"/>
              <a:gd name="connsiteY1" fmla="*/ 0 h 6885384"/>
              <a:gd name="connsiteX2" fmla="*/ 3724176 w 3724176"/>
              <a:gd name="connsiteY2" fmla="*/ 6885384 h 6885384"/>
              <a:gd name="connsiteX3" fmla="*/ 0 w 3724176"/>
              <a:gd name="connsiteY3" fmla="*/ 6885384 h 6885384"/>
              <a:gd name="connsiteX4" fmla="*/ 0 w 3724176"/>
              <a:gd name="connsiteY4" fmla="*/ 0 h 6885384"/>
              <a:gd name="connsiteX0" fmla="*/ 5080 w 3729256"/>
              <a:gd name="connsiteY0" fmla="*/ 0 h 6885384"/>
              <a:gd name="connsiteX1" fmla="*/ 3729256 w 3729256"/>
              <a:gd name="connsiteY1" fmla="*/ 0 h 6885384"/>
              <a:gd name="connsiteX2" fmla="*/ 3729256 w 3729256"/>
              <a:gd name="connsiteY2" fmla="*/ 6885384 h 6885384"/>
              <a:gd name="connsiteX3" fmla="*/ 5080 w 3729256"/>
              <a:gd name="connsiteY3" fmla="*/ 6885384 h 6885384"/>
              <a:gd name="connsiteX4" fmla="*/ 0 w 3729256"/>
              <a:gd name="connsiteY4" fmla="*/ 1470660 h 6885384"/>
              <a:gd name="connsiteX5" fmla="*/ 5080 w 3729256"/>
              <a:gd name="connsiteY5" fmla="*/ 0 h 6885384"/>
              <a:gd name="connsiteX0" fmla="*/ 277374 w 4001550"/>
              <a:gd name="connsiteY0" fmla="*/ 0 h 6885384"/>
              <a:gd name="connsiteX1" fmla="*/ 4001550 w 4001550"/>
              <a:gd name="connsiteY1" fmla="*/ 0 h 6885384"/>
              <a:gd name="connsiteX2" fmla="*/ 4001550 w 4001550"/>
              <a:gd name="connsiteY2" fmla="*/ 6885384 h 6885384"/>
              <a:gd name="connsiteX3" fmla="*/ 277374 w 4001550"/>
              <a:gd name="connsiteY3" fmla="*/ 6885384 h 6885384"/>
              <a:gd name="connsiteX4" fmla="*/ 272294 w 4001550"/>
              <a:gd name="connsiteY4" fmla="*/ 2225040 h 6885384"/>
              <a:gd name="connsiteX5" fmla="*/ 272294 w 4001550"/>
              <a:gd name="connsiteY5" fmla="*/ 1470660 h 6885384"/>
              <a:gd name="connsiteX6" fmla="*/ 277374 w 4001550"/>
              <a:gd name="connsiteY6" fmla="*/ 0 h 6885384"/>
              <a:gd name="connsiteX0" fmla="*/ 5716 w 3729892"/>
              <a:gd name="connsiteY0" fmla="*/ 0 h 6885384"/>
              <a:gd name="connsiteX1" fmla="*/ 3729892 w 3729892"/>
              <a:gd name="connsiteY1" fmla="*/ 0 h 6885384"/>
              <a:gd name="connsiteX2" fmla="*/ 3729892 w 3729892"/>
              <a:gd name="connsiteY2" fmla="*/ 6885384 h 6885384"/>
              <a:gd name="connsiteX3" fmla="*/ 5716 w 3729892"/>
              <a:gd name="connsiteY3" fmla="*/ 6885384 h 6885384"/>
              <a:gd name="connsiteX4" fmla="*/ 636 w 3729892"/>
              <a:gd name="connsiteY4" fmla="*/ 2225040 h 6885384"/>
              <a:gd name="connsiteX5" fmla="*/ 636 w 3729892"/>
              <a:gd name="connsiteY5" fmla="*/ 1470660 h 6885384"/>
              <a:gd name="connsiteX6" fmla="*/ 5716 w 3729892"/>
              <a:gd name="connsiteY6" fmla="*/ 0 h 6885384"/>
              <a:gd name="connsiteX0" fmla="*/ 5457 w 3729633"/>
              <a:gd name="connsiteY0" fmla="*/ 0 h 6885384"/>
              <a:gd name="connsiteX1" fmla="*/ 3729633 w 3729633"/>
              <a:gd name="connsiteY1" fmla="*/ 0 h 6885384"/>
              <a:gd name="connsiteX2" fmla="*/ 3729633 w 3729633"/>
              <a:gd name="connsiteY2" fmla="*/ 6885384 h 6885384"/>
              <a:gd name="connsiteX3" fmla="*/ 5457 w 3729633"/>
              <a:gd name="connsiteY3" fmla="*/ 6885384 h 6885384"/>
              <a:gd name="connsiteX4" fmla="*/ 377 w 3729633"/>
              <a:gd name="connsiteY4" fmla="*/ 2225040 h 6885384"/>
              <a:gd name="connsiteX5" fmla="*/ 377 w 3729633"/>
              <a:gd name="connsiteY5" fmla="*/ 1805940 h 6885384"/>
              <a:gd name="connsiteX6" fmla="*/ 377 w 3729633"/>
              <a:gd name="connsiteY6" fmla="*/ 1470660 h 6885384"/>
              <a:gd name="connsiteX7" fmla="*/ 5457 w 3729633"/>
              <a:gd name="connsiteY7" fmla="*/ 0 h 6885384"/>
              <a:gd name="connsiteX0" fmla="*/ 5082 w 3729258"/>
              <a:gd name="connsiteY0" fmla="*/ 0 h 6885384"/>
              <a:gd name="connsiteX1" fmla="*/ 3729258 w 3729258"/>
              <a:gd name="connsiteY1" fmla="*/ 0 h 6885384"/>
              <a:gd name="connsiteX2" fmla="*/ 3729258 w 3729258"/>
              <a:gd name="connsiteY2" fmla="*/ 6885384 h 6885384"/>
              <a:gd name="connsiteX3" fmla="*/ 5082 w 3729258"/>
              <a:gd name="connsiteY3" fmla="*/ 6885384 h 6885384"/>
              <a:gd name="connsiteX4" fmla="*/ 2 w 3729258"/>
              <a:gd name="connsiteY4" fmla="*/ 2225040 h 6885384"/>
              <a:gd name="connsiteX5" fmla="*/ 449582 w 3729258"/>
              <a:gd name="connsiteY5" fmla="*/ 1821180 h 6885384"/>
              <a:gd name="connsiteX6" fmla="*/ 2 w 3729258"/>
              <a:gd name="connsiteY6" fmla="*/ 1470660 h 6885384"/>
              <a:gd name="connsiteX7" fmla="*/ 5082 w 3729258"/>
              <a:gd name="connsiteY7" fmla="*/ 0 h 6885384"/>
              <a:gd name="connsiteX0" fmla="*/ 5084 w 3729260"/>
              <a:gd name="connsiteY0" fmla="*/ 0 h 6885384"/>
              <a:gd name="connsiteX1" fmla="*/ 3729260 w 3729260"/>
              <a:gd name="connsiteY1" fmla="*/ 0 h 6885384"/>
              <a:gd name="connsiteX2" fmla="*/ 3729260 w 3729260"/>
              <a:gd name="connsiteY2" fmla="*/ 6885384 h 6885384"/>
              <a:gd name="connsiteX3" fmla="*/ 5084 w 3729260"/>
              <a:gd name="connsiteY3" fmla="*/ 6885384 h 6885384"/>
              <a:gd name="connsiteX4" fmla="*/ 4 w 3729260"/>
              <a:gd name="connsiteY4" fmla="*/ 2225040 h 6885384"/>
              <a:gd name="connsiteX5" fmla="*/ 449584 w 3729260"/>
              <a:gd name="connsiteY5" fmla="*/ 1821180 h 6885384"/>
              <a:gd name="connsiteX6" fmla="*/ 4 w 3729260"/>
              <a:gd name="connsiteY6" fmla="*/ 1470660 h 6885384"/>
              <a:gd name="connsiteX7" fmla="*/ 5084 w 3729260"/>
              <a:gd name="connsiteY7" fmla="*/ 0 h 6885384"/>
              <a:gd name="connsiteX0" fmla="*/ 5082 w 3729258"/>
              <a:gd name="connsiteY0" fmla="*/ 0 h 6885384"/>
              <a:gd name="connsiteX1" fmla="*/ 3729258 w 3729258"/>
              <a:gd name="connsiteY1" fmla="*/ 0 h 6885384"/>
              <a:gd name="connsiteX2" fmla="*/ 3729258 w 3729258"/>
              <a:gd name="connsiteY2" fmla="*/ 6885384 h 6885384"/>
              <a:gd name="connsiteX3" fmla="*/ 5082 w 3729258"/>
              <a:gd name="connsiteY3" fmla="*/ 6885384 h 6885384"/>
              <a:gd name="connsiteX4" fmla="*/ 2 w 3729258"/>
              <a:gd name="connsiteY4" fmla="*/ 2225040 h 6885384"/>
              <a:gd name="connsiteX5" fmla="*/ 449582 w 3729258"/>
              <a:gd name="connsiteY5" fmla="*/ 1821180 h 6885384"/>
              <a:gd name="connsiteX6" fmla="*/ 2 w 3729258"/>
              <a:gd name="connsiteY6" fmla="*/ 1470660 h 6885384"/>
              <a:gd name="connsiteX7" fmla="*/ 5082 w 3729258"/>
              <a:gd name="connsiteY7" fmla="*/ 0 h 6885384"/>
              <a:gd name="connsiteX0" fmla="*/ 5080 w 3729256"/>
              <a:gd name="connsiteY0" fmla="*/ 0 h 6885384"/>
              <a:gd name="connsiteX1" fmla="*/ 3729256 w 3729256"/>
              <a:gd name="connsiteY1" fmla="*/ 0 h 6885384"/>
              <a:gd name="connsiteX2" fmla="*/ 3729256 w 3729256"/>
              <a:gd name="connsiteY2" fmla="*/ 6885384 h 6885384"/>
              <a:gd name="connsiteX3" fmla="*/ 5080 w 3729256"/>
              <a:gd name="connsiteY3" fmla="*/ 6885384 h 6885384"/>
              <a:gd name="connsiteX4" fmla="*/ 0 w 3729256"/>
              <a:gd name="connsiteY4" fmla="*/ 2225040 h 6885384"/>
              <a:gd name="connsiteX5" fmla="*/ 449580 w 3729256"/>
              <a:gd name="connsiteY5" fmla="*/ 1821180 h 6885384"/>
              <a:gd name="connsiteX6" fmla="*/ 0 w 3729256"/>
              <a:gd name="connsiteY6" fmla="*/ 1470660 h 6885384"/>
              <a:gd name="connsiteX7" fmla="*/ 5080 w 3729256"/>
              <a:gd name="connsiteY7" fmla="*/ 0 h 6885384"/>
              <a:gd name="connsiteX0" fmla="*/ 5080 w 3729256"/>
              <a:gd name="connsiteY0" fmla="*/ 0 h 6885384"/>
              <a:gd name="connsiteX1" fmla="*/ 3729256 w 3729256"/>
              <a:gd name="connsiteY1" fmla="*/ 0 h 6885384"/>
              <a:gd name="connsiteX2" fmla="*/ 3729256 w 3729256"/>
              <a:gd name="connsiteY2" fmla="*/ 6885384 h 6885384"/>
              <a:gd name="connsiteX3" fmla="*/ 5080 w 3729256"/>
              <a:gd name="connsiteY3" fmla="*/ 6885384 h 6885384"/>
              <a:gd name="connsiteX4" fmla="*/ 0 w 3729256"/>
              <a:gd name="connsiteY4" fmla="*/ 2225040 h 6885384"/>
              <a:gd name="connsiteX5" fmla="*/ 449580 w 3729256"/>
              <a:gd name="connsiteY5" fmla="*/ 1821180 h 6885384"/>
              <a:gd name="connsiteX6" fmla="*/ 0 w 3729256"/>
              <a:gd name="connsiteY6" fmla="*/ 1470660 h 6885384"/>
              <a:gd name="connsiteX7" fmla="*/ 5080 w 3729256"/>
              <a:gd name="connsiteY7" fmla="*/ 0 h 6885384"/>
              <a:gd name="connsiteX0" fmla="*/ 5080 w 6585056"/>
              <a:gd name="connsiteY0" fmla="*/ 6179 h 6891563"/>
              <a:gd name="connsiteX1" fmla="*/ 6585056 w 6585056"/>
              <a:gd name="connsiteY1" fmla="*/ 0 h 6891563"/>
              <a:gd name="connsiteX2" fmla="*/ 3729256 w 6585056"/>
              <a:gd name="connsiteY2" fmla="*/ 6891563 h 6891563"/>
              <a:gd name="connsiteX3" fmla="*/ 5080 w 6585056"/>
              <a:gd name="connsiteY3" fmla="*/ 6891563 h 6891563"/>
              <a:gd name="connsiteX4" fmla="*/ 0 w 6585056"/>
              <a:gd name="connsiteY4" fmla="*/ 2231219 h 6891563"/>
              <a:gd name="connsiteX5" fmla="*/ 449580 w 6585056"/>
              <a:gd name="connsiteY5" fmla="*/ 1827359 h 6891563"/>
              <a:gd name="connsiteX6" fmla="*/ 0 w 6585056"/>
              <a:gd name="connsiteY6" fmla="*/ 1476839 h 6891563"/>
              <a:gd name="connsiteX7" fmla="*/ 5080 w 6585056"/>
              <a:gd name="connsiteY7" fmla="*/ 6179 h 6891563"/>
              <a:gd name="connsiteX0" fmla="*/ 5080 w 6625937"/>
              <a:gd name="connsiteY0" fmla="*/ 6179 h 6891563"/>
              <a:gd name="connsiteX1" fmla="*/ 6585056 w 6625937"/>
              <a:gd name="connsiteY1" fmla="*/ 0 h 6891563"/>
              <a:gd name="connsiteX2" fmla="*/ 6625937 w 6625937"/>
              <a:gd name="connsiteY2" fmla="*/ 6885384 h 6891563"/>
              <a:gd name="connsiteX3" fmla="*/ 5080 w 6625937"/>
              <a:gd name="connsiteY3" fmla="*/ 6891563 h 6891563"/>
              <a:gd name="connsiteX4" fmla="*/ 0 w 6625937"/>
              <a:gd name="connsiteY4" fmla="*/ 2231219 h 6891563"/>
              <a:gd name="connsiteX5" fmla="*/ 449580 w 6625937"/>
              <a:gd name="connsiteY5" fmla="*/ 1827359 h 6891563"/>
              <a:gd name="connsiteX6" fmla="*/ 0 w 6625937"/>
              <a:gd name="connsiteY6" fmla="*/ 1476839 h 6891563"/>
              <a:gd name="connsiteX7" fmla="*/ 5080 w 6625937"/>
              <a:gd name="connsiteY7" fmla="*/ 6179 h 6891563"/>
              <a:gd name="connsiteX0" fmla="*/ 5080 w 6614257"/>
              <a:gd name="connsiteY0" fmla="*/ 6179 h 6891563"/>
              <a:gd name="connsiteX1" fmla="*/ 6585056 w 6614257"/>
              <a:gd name="connsiteY1" fmla="*/ 0 h 6891563"/>
              <a:gd name="connsiteX2" fmla="*/ 6614257 w 6614257"/>
              <a:gd name="connsiteY2" fmla="*/ 6879206 h 6891563"/>
              <a:gd name="connsiteX3" fmla="*/ 5080 w 6614257"/>
              <a:gd name="connsiteY3" fmla="*/ 6891563 h 6891563"/>
              <a:gd name="connsiteX4" fmla="*/ 0 w 6614257"/>
              <a:gd name="connsiteY4" fmla="*/ 2231219 h 6891563"/>
              <a:gd name="connsiteX5" fmla="*/ 449580 w 6614257"/>
              <a:gd name="connsiteY5" fmla="*/ 1827359 h 6891563"/>
              <a:gd name="connsiteX6" fmla="*/ 0 w 6614257"/>
              <a:gd name="connsiteY6" fmla="*/ 1476839 h 6891563"/>
              <a:gd name="connsiteX7" fmla="*/ 5080 w 6614257"/>
              <a:gd name="connsiteY7" fmla="*/ 6179 h 6891563"/>
              <a:gd name="connsiteX0" fmla="*/ 5080 w 6596736"/>
              <a:gd name="connsiteY0" fmla="*/ 6179 h 6891563"/>
              <a:gd name="connsiteX1" fmla="*/ 6585056 w 6596736"/>
              <a:gd name="connsiteY1" fmla="*/ 0 h 6891563"/>
              <a:gd name="connsiteX2" fmla="*/ 6596736 w 6596736"/>
              <a:gd name="connsiteY2" fmla="*/ 6879206 h 6891563"/>
              <a:gd name="connsiteX3" fmla="*/ 5080 w 6596736"/>
              <a:gd name="connsiteY3" fmla="*/ 6891563 h 6891563"/>
              <a:gd name="connsiteX4" fmla="*/ 0 w 6596736"/>
              <a:gd name="connsiteY4" fmla="*/ 2231219 h 6891563"/>
              <a:gd name="connsiteX5" fmla="*/ 449580 w 6596736"/>
              <a:gd name="connsiteY5" fmla="*/ 1827359 h 6891563"/>
              <a:gd name="connsiteX6" fmla="*/ 0 w 6596736"/>
              <a:gd name="connsiteY6" fmla="*/ 1476839 h 6891563"/>
              <a:gd name="connsiteX7" fmla="*/ 5080 w 6596736"/>
              <a:gd name="connsiteY7" fmla="*/ 6179 h 6891563"/>
              <a:gd name="connsiteX0" fmla="*/ 5715 w 6597371"/>
              <a:gd name="connsiteY0" fmla="*/ 6179 h 6891563"/>
              <a:gd name="connsiteX1" fmla="*/ 6585691 w 6597371"/>
              <a:gd name="connsiteY1" fmla="*/ 0 h 6891563"/>
              <a:gd name="connsiteX2" fmla="*/ 6597371 w 6597371"/>
              <a:gd name="connsiteY2" fmla="*/ 6879206 h 6891563"/>
              <a:gd name="connsiteX3" fmla="*/ 5715 w 6597371"/>
              <a:gd name="connsiteY3" fmla="*/ 6891563 h 6891563"/>
              <a:gd name="connsiteX4" fmla="*/ 635 w 6597371"/>
              <a:gd name="connsiteY4" fmla="*/ 2231219 h 6891563"/>
              <a:gd name="connsiteX5" fmla="*/ 635 w 6597371"/>
              <a:gd name="connsiteY5" fmla="*/ 1476839 h 6891563"/>
              <a:gd name="connsiteX6" fmla="*/ 5715 w 6597371"/>
              <a:gd name="connsiteY6" fmla="*/ 6179 h 68915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97371" h="6891563">
                <a:moveTo>
                  <a:pt x="5715" y="6179"/>
                </a:moveTo>
                <a:lnTo>
                  <a:pt x="6585691" y="0"/>
                </a:lnTo>
                <a:cubicBezTo>
                  <a:pt x="6589584" y="2293069"/>
                  <a:pt x="6593478" y="4586137"/>
                  <a:pt x="6597371" y="6879206"/>
                </a:cubicBezTo>
                <a:lnTo>
                  <a:pt x="5715" y="6891563"/>
                </a:lnTo>
                <a:cubicBezTo>
                  <a:pt x="9012" y="6061499"/>
                  <a:pt x="1482" y="3133673"/>
                  <a:pt x="635" y="2231219"/>
                </a:cubicBezTo>
                <a:cubicBezTo>
                  <a:pt x="-212" y="1328765"/>
                  <a:pt x="-212" y="1847679"/>
                  <a:pt x="635" y="1476839"/>
                </a:cubicBezTo>
                <a:cubicBezTo>
                  <a:pt x="2328" y="986619"/>
                  <a:pt x="4022" y="496399"/>
                  <a:pt x="5715" y="6179"/>
                </a:cubicBezTo>
                <a:close/>
              </a:path>
            </a:pathLst>
          </a:custGeom>
          <a:solidFill>
            <a:schemeClr val="accent1"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idx="1"/>
          </p:nvPr>
        </p:nvSpPr>
        <p:spPr>
          <a:xfrm>
            <a:off x="647594" y="1263040"/>
            <a:ext cx="5150628" cy="3600400"/>
          </a:xfrm>
        </p:spPr>
        <p:txBody>
          <a:bodyPr/>
          <a:lstStyle/>
          <a:p>
            <a:pPr>
              <a:buClr>
                <a:schemeClr val="bg1"/>
              </a:buClr>
              <a:buBlip>
                <a:blip r:embed="rId3"/>
              </a:buBlip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  <a:buBlip>
                <a:blip r:embed="rId3"/>
              </a:buBlip>
            </a:pPr>
            <a:endParaRPr lang="de-DE" dirty="0">
              <a:solidFill>
                <a:schemeClr val="bg1"/>
              </a:solidFill>
            </a:endParaRPr>
          </a:p>
          <a:p>
            <a:pPr marL="0" indent="0">
              <a:buClr>
                <a:schemeClr val="bg1"/>
              </a:buClr>
              <a:buNone/>
            </a:pPr>
            <a:endParaRPr lang="de-DE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  <a:buBlip>
                <a:blip r:embed="rId3"/>
              </a:buBlip>
            </a:pP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623392" y="258762"/>
            <a:ext cx="9754043" cy="424800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881309" y="6584951"/>
            <a:ext cx="5012928" cy="215900"/>
          </a:xfrm>
        </p:spPr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>
          <a:xfrm>
            <a:off x="360363" y="6586439"/>
            <a:ext cx="493866" cy="216000"/>
          </a:xfrm>
        </p:spPr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30114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5473019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985723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5473019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rmationen zur Modeling Guidel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50753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mart">
  <a:themeElements>
    <a:clrScheme name="Benutzerdefiniert 1">
      <a:dk1>
        <a:sysClr val="windowText" lastClr="000000"/>
      </a:dk1>
      <a:lt1>
        <a:sysClr val="window" lastClr="FFFFFF"/>
      </a:lt1>
      <a:dk2>
        <a:srgbClr val="0060A9"/>
      </a:dk2>
      <a:lt2>
        <a:srgbClr val="D2D8DC"/>
      </a:lt2>
      <a:accent1>
        <a:srgbClr val="0060A9"/>
      </a:accent1>
      <a:accent2>
        <a:srgbClr val="A3B7DA"/>
      </a:accent2>
      <a:accent3>
        <a:srgbClr val="748394"/>
      </a:accent3>
      <a:accent4>
        <a:srgbClr val="FFE600"/>
      </a:accent4>
      <a:accent5>
        <a:srgbClr val="006600"/>
      </a:accent5>
      <a:accent6>
        <a:srgbClr val="B6070A"/>
      </a:accent6>
      <a:hlink>
        <a:srgbClr val="006EC2"/>
      </a:hlink>
      <a:folHlink>
        <a:srgbClr val="800080"/>
      </a:folHlink>
    </a:clrScheme>
    <a:fontScheme name="Master Smart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Master Smart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/>
  <a:extraClrSchemeLst/>
  <a:custClrLst>
    <a:custClr name="Smart Grün">
      <a:srgbClr val="ADC22D"/>
    </a:custClr>
    <a:custClr name="Smart Orange">
      <a:srgbClr val="DC931A"/>
    </a:custClr>
    <a:custClr name="Smart Dunkelblau">
      <a:srgbClr val="283F64"/>
    </a:custClr>
  </a:custClrLst>
  <a:extLst>
    <a:ext uri="{05A4C25C-085E-4340-85A3-A5531E510DB2}">
      <thm15:themeFamily xmlns:thm15="http://schemas.microsoft.com/office/thememl/2012/main" name="Designvorlage.potx" id="{31D03E13-31BB-4AB1-95B7-0106BE1EC14C}" vid="{7DE87D3C-D34E-47B4-8BE1-28FD1924A42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472ea6ee43248479fb8bd9165cf026a xmlns="b85a9d60-6535-41ad-bf5c-23a8b594cd63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</TermName>
          <TermId xmlns="http://schemas.microsoft.com/office/infopath/2007/PartnerControls">f9f550ab-d043-4f5a-97bd-52764d9a66d8</TermId>
        </TermInfo>
      </Terms>
    </n472ea6ee43248479fb8bd9165cf026a>
    <_dlc_DocId xmlns="ed5c7061-1de8-4387-89c6-d21a66c01b33">SMMQM-2-392</_dlc_DocId>
    <_dlc_DocIdUrl xmlns="ed5c7061-1de8-4387-89c6-d21a66c01b33">
      <Url>https://qm.smart-mechatronics.de/_layouts/15/DocIdRedir.aspx?ID=SMMQM-2-392</Url>
      <Description>SMMQM-2-392</Description>
    </_dlc_DocIdUrl>
    <TaxCatchAll xmlns="ed5c7061-1de8-4387-89c6-d21a66c01b33">
      <Value>1</Value>
    </TaxCatchAll>
    <l228be0177a34db3828e80e3fa65188a xmlns="b85a9d60-6535-41ad-bf5c-23a8b594cd63">
      <Terms xmlns="http://schemas.microsoft.com/office/infopath/2007/PartnerControls"/>
    </l228be0177a34db3828e80e3fa65188a>
    <TaxKeywordTaxHTField xmlns="ed5c7061-1de8-4387-89c6-d21a66c01b33">
      <Terms xmlns="http://schemas.microsoft.com/office/infopath/2007/PartnerControls"/>
    </TaxKeywordTaxHTField>
    <baca3e887ca7480a9d7450c9bf4a3684 xmlns="b85a9d60-6535-41ad-bf5c-23a8b594cd63">
      <Terms xmlns="http://schemas.microsoft.com/office/infopath/2007/PartnerControls"/>
    </baca3e887ca7480a9d7450c9bf4a3684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BBD9003812289408EA7333BCACF44FC" ma:contentTypeVersion="12" ma:contentTypeDescription="Ein neues Dokument erstellen." ma:contentTypeScope="" ma:versionID="0c5c1046a88a933084f5a8197ebf6a23">
  <xsd:schema xmlns:xsd="http://www.w3.org/2001/XMLSchema" xmlns:xs="http://www.w3.org/2001/XMLSchema" xmlns:p="http://schemas.microsoft.com/office/2006/metadata/properties" xmlns:ns2="b85a9d60-6535-41ad-bf5c-23a8b594cd63" xmlns:ns3="ed5c7061-1de8-4387-89c6-d21a66c01b33" targetNamespace="http://schemas.microsoft.com/office/2006/metadata/properties" ma:root="true" ma:fieldsID="f2895043163c27cc329504fc8636e150" ns2:_="" ns3:_="">
    <xsd:import namespace="b85a9d60-6535-41ad-bf5c-23a8b594cd63"/>
    <xsd:import namespace="ed5c7061-1de8-4387-89c6-d21a66c01b33"/>
    <xsd:element name="properties">
      <xsd:complexType>
        <xsd:sequence>
          <xsd:element name="documentManagement">
            <xsd:complexType>
              <xsd:all>
                <xsd:element ref="ns2:n472ea6ee43248479fb8bd9165cf026a" minOccurs="0"/>
                <xsd:element ref="ns3:TaxCatchAll" minOccurs="0"/>
                <xsd:element ref="ns3:TaxKeywordTaxHTField" minOccurs="0"/>
                <xsd:element ref="ns2:baca3e887ca7480a9d7450c9bf4a3684" minOccurs="0"/>
                <xsd:element ref="ns2:l228be0177a34db3828e80e3fa65188a" minOccurs="0"/>
                <xsd:element ref="ns3:_dlc_DocId" minOccurs="0"/>
                <xsd:element ref="ns3:_dlc_DocIdUrl" minOccurs="0"/>
                <xsd:element ref="ns3:_dlc_DocIdPersistI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5a9d60-6535-41ad-bf5c-23a8b594cd63" elementFormDefault="qualified">
    <xsd:import namespace="http://schemas.microsoft.com/office/2006/documentManagement/types"/>
    <xsd:import namespace="http://schemas.microsoft.com/office/infopath/2007/PartnerControls"/>
    <xsd:element name="n472ea6ee43248479fb8bd9165cf026a" ma:index="9" nillable="true" ma:taxonomy="true" ma:internalName="n472ea6ee43248479fb8bd9165cf026a" ma:taxonomyFieldName="Inhaltsart" ma:displayName="Inhaltsart" ma:default="" ma:fieldId="{7472ea6e-e432-4847-9fb8-bd9165cf026a}" ma:sspId="2e2829cc-aa2a-46b2-a28b-c9f97d3d1cb4" ma:termSetId="767c6171-8aee-45fe-9245-6574c4a98c8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ca3e887ca7480a9d7450c9bf4a3684" ma:index="14" nillable="true" ma:taxonomy="true" ma:internalName="baca3e887ca7480a9d7450c9bf4a3684" ma:taxonomyFieldName="Organisation" ma:displayName="Organisation" ma:default="" ma:fieldId="{baca3e88-7ca7-480a-9d74-50c9bf4a3684}" ma:taxonomyMulti="true" ma:sspId="2e2829cc-aa2a-46b2-a28b-c9f97d3d1cb4" ma:termSetId="e3389e6f-2df5-4eb9-a59a-38e053c8fa8f" ma:anchorId="272604aa-3b6b-45a0-a37b-82e69713eb6d" ma:open="false" ma:isKeyword="false">
      <xsd:complexType>
        <xsd:sequence>
          <xsd:element ref="pc:Terms" minOccurs="0" maxOccurs="1"/>
        </xsd:sequence>
      </xsd:complexType>
    </xsd:element>
    <xsd:element name="l228be0177a34db3828e80e3fa65188a" ma:index="16" nillable="true" ma:taxonomy="true" ma:internalName="l228be0177a34db3828e80e3fa65188a" ma:taxonomyFieldName="GJ" ma:displayName="GJ" ma:default="" ma:fieldId="{5228be01-77a3-4db3-828e-80e3fa65188a}" ma:taxonomyMulti="true" ma:sspId="2e2829cc-aa2a-46b2-a28b-c9f97d3d1cb4" ma:termSetId="e3389e6f-2df5-4eb9-a59a-38e053c8fa8f" ma:anchorId="b48e39cb-534e-47f5-8a32-3ac0545ff679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5c7061-1de8-4387-89c6-d21a66c01b33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61813fb6-496b-4d3a-8b99-ceada4826d4f}" ma:internalName="TaxCatchAll" ma:showField="CatchAllData" ma:web="ed5c7061-1de8-4387-89c6-d21a66c01b3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2" nillable="true" ma:taxonomy="true" ma:internalName="TaxKeywordTaxHTField" ma:taxonomyFieldName="TaxKeyword" ma:displayName="Freitext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_dlc_DocId" ma:index="17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18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9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  <xsd:element name="SharedWithUsers" ma:index="20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5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Props1.xml><?xml version="1.0" encoding="utf-8"?>
<ds:datastoreItem xmlns:ds="http://schemas.openxmlformats.org/officeDocument/2006/customXml" ds:itemID="{29940796-2B28-46D6-A019-405D01B8DF60}">
  <ds:schemaRefs>
    <ds:schemaRef ds:uri="http://purl.org/dc/terms/"/>
    <ds:schemaRef ds:uri="b85a9d60-6535-41ad-bf5c-23a8b594cd63"/>
    <ds:schemaRef ds:uri="ed5c7061-1de8-4387-89c6-d21a66c01b3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CA8B933-44D9-4902-90F1-BC93213D16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85a9d60-6535-41ad-bf5c-23a8b594cd63"/>
    <ds:schemaRef ds:uri="ed5c7061-1de8-4387-89c6-d21a66c01b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33AE78F-1762-4C8A-B000-A5B2FC0C6AC7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0783E0A9-D953-4B7B-BC87-E5F4BA76F061}">
  <ds:schemaRefs>
    <ds:schemaRef ds:uri="http://schemas.microsoft.com/sharepoint/events"/>
  </ds:schemaRefs>
</ds:datastoreItem>
</file>

<file path=customXml/itemProps5.xml><?xml version="1.0" encoding="utf-8"?>
<ds:datastoreItem xmlns:ds="http://schemas.openxmlformats.org/officeDocument/2006/customXml" ds:itemID="{783BD3D0-EE3E-4A15-8667-6519756E537D}">
  <ds:schemaRefs>
    <ds:schemaRef ds:uri="http://schemas.microsoft.com/office/2006/metadata/customXs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signvorlage</Template>
  <TotalTime>0</TotalTime>
  <Words>18</Words>
  <Application>Microsoft Macintosh PowerPoint</Application>
  <PresentationFormat>Breitbild</PresentationFormat>
  <Paragraphs>15</Paragraphs>
  <Slides>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0" baseType="lpstr">
      <vt:lpstr>Arial</vt:lpstr>
      <vt:lpstr>Segoe UI</vt:lpstr>
      <vt:lpstr>Wingdings</vt:lpstr>
      <vt:lpstr>Wingdings 3</vt:lpstr>
      <vt:lpstr>1_Smart</vt:lpstr>
      <vt:lpstr>think-cell Folie</vt:lpstr>
      <vt:lpstr>PowerPoint-Präsentation</vt:lpstr>
      <vt:lpstr>Agenda</vt:lpstr>
      <vt:lpstr>PowerPoint-Präsentation</vt:lpstr>
      <vt:lpstr>PowerPoint-Präsentation</vt:lpstr>
    </vt:vector>
  </TitlesOfParts>
  <Company>UNITY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ittmann, Hannes</dc:creator>
  <cp:keywords/>
  <cp:lastModifiedBy>Hannes Dittmann</cp:lastModifiedBy>
  <cp:revision>11</cp:revision>
  <dcterms:created xsi:type="dcterms:W3CDTF">2019-09-25T11:15:24Z</dcterms:created>
  <dcterms:modified xsi:type="dcterms:W3CDTF">2020-05-28T06:33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Organisation">
    <vt:lpwstr/>
  </property>
  <property fmtid="{D5CDD505-2E9C-101B-9397-08002B2CF9AE}" pid="4" name="ContentTypeId">
    <vt:lpwstr>0x010100ABBD9003812289408EA7333BCACF44FC</vt:lpwstr>
  </property>
  <property fmtid="{D5CDD505-2E9C-101B-9397-08002B2CF9AE}" pid="5" name="GJ">
    <vt:lpwstr/>
  </property>
  <property fmtid="{D5CDD505-2E9C-101B-9397-08002B2CF9AE}" pid="6" name="_dlc_DocIdItemGuid">
    <vt:lpwstr>6f6ae8fb-3eff-4a15-8aed-1eca49a7e6f9</vt:lpwstr>
  </property>
  <property fmtid="{D5CDD505-2E9C-101B-9397-08002B2CF9AE}" pid="7" name="Inhaltsart">
    <vt:lpwstr>1;#Vorlage|f9f550ab-d043-4f5a-97bd-52764d9a66d8</vt:lpwstr>
  </property>
</Properties>
</file>